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89" r:id="rId2"/>
    <p:sldId id="273" r:id="rId3"/>
    <p:sldId id="261" r:id="rId4"/>
    <p:sldId id="304" r:id="rId5"/>
    <p:sldId id="269" r:id="rId6"/>
    <p:sldId id="295" r:id="rId7"/>
    <p:sldId id="300" r:id="rId8"/>
    <p:sldId id="296" r:id="rId9"/>
    <p:sldId id="301" r:id="rId10"/>
    <p:sldId id="297" r:id="rId11"/>
    <p:sldId id="270" r:id="rId12"/>
    <p:sldId id="302" r:id="rId13"/>
    <p:sldId id="257" r:id="rId14"/>
    <p:sldId id="306" r:id="rId15"/>
    <p:sldId id="305" r:id="rId16"/>
    <p:sldId id="294" r:id="rId17"/>
    <p:sldId id="259" r:id="rId18"/>
    <p:sldId id="312" r:id="rId1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55" autoAdjust="0"/>
    <p:restoredTop sz="94660"/>
  </p:normalViewPr>
  <p:slideViewPr>
    <p:cSldViewPr snapToGrid="0" snapToObjects="1">
      <p:cViewPr varScale="1">
        <p:scale>
          <a:sx n="68" d="100"/>
          <a:sy n="68" d="100"/>
        </p:scale>
        <p:origin x="1596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31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810AF-6D52-9A47-BE96-EE56B20DB61B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C675E2-FD63-1C41-A627-24D1C498E5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257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035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3206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885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667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3758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99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260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704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283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16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634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9845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3960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559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xfrm>
            <a:off x="6583680" y="6377941"/>
            <a:ext cx="2103120" cy="349251"/>
          </a:xfrm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827511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748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631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386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3926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088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321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14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2/0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762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_MIIW-01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469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l="16090" t="13647" r="14116" b="20881"/>
          <a:stretch/>
        </p:blipFill>
        <p:spPr>
          <a:xfrm>
            <a:off x="1" y="580690"/>
            <a:ext cx="9144000" cy="580406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65332" y="660009"/>
            <a:ext cx="86246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>
                <a:latin typeface="Agency FB" panose="020B0503020202020204" pitchFamily="34" charset="0"/>
              </a:rPr>
              <a:t>MAKE IN INDIA WEEK 2016</a:t>
            </a:r>
          </a:p>
        </p:txBody>
      </p:sp>
    </p:spTree>
    <p:extLst>
      <p:ext uri="{BB962C8B-B14F-4D97-AF65-F5344CB8AC3E}">
        <p14:creationId xmlns:p14="http://schemas.microsoft.com/office/powerpoint/2010/main" val="2889654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34461" y="1108753"/>
            <a:ext cx="8600049" cy="517064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sz="2000" kern="0" spc="70" dirty="0" smtClean="0">
                <a:latin typeface="Arial"/>
                <a:cs typeface="Arial"/>
              </a:rPr>
              <a:t>KEY </a:t>
            </a:r>
            <a:r>
              <a:rPr lang="en-US" sz="2000" kern="0" spc="70" dirty="0">
                <a:latin typeface="Arial"/>
                <a:cs typeface="Arial"/>
              </a:rPr>
              <a:t>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 smtClean="0">
                <a:latin typeface="Arial"/>
                <a:cs typeface="Arial"/>
              </a:rPr>
              <a:t>Government </a:t>
            </a:r>
            <a:r>
              <a:rPr lang="en-US" sz="2000" kern="0" spc="70" dirty="0">
                <a:latin typeface="Arial"/>
                <a:cs typeface="Arial"/>
              </a:rPr>
              <a:t>of </a:t>
            </a:r>
            <a:r>
              <a:rPr lang="en-US" sz="2000" b="1" kern="0" spc="70" dirty="0">
                <a:latin typeface="Arial"/>
                <a:cs typeface="Arial"/>
              </a:rPr>
              <a:t>Jharkhand and Vedanta Ltd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 smtClean="0">
                <a:latin typeface="Arial"/>
                <a:cs typeface="Arial"/>
              </a:rPr>
              <a:t>Government </a:t>
            </a:r>
            <a:r>
              <a:rPr lang="en-US" sz="2000" kern="0" spc="70" dirty="0">
                <a:latin typeface="Arial"/>
                <a:cs typeface="Arial"/>
              </a:rPr>
              <a:t>of </a:t>
            </a:r>
            <a:r>
              <a:rPr lang="en-US" sz="2000" b="1" kern="0" spc="70" dirty="0">
                <a:latin typeface="Arial"/>
                <a:cs typeface="Arial"/>
              </a:rPr>
              <a:t>Jharkhand and Adani group </a:t>
            </a:r>
            <a:r>
              <a:rPr lang="en-US" sz="2000" kern="0" spc="70" dirty="0">
                <a:latin typeface="Arial"/>
                <a:cs typeface="Arial"/>
              </a:rPr>
              <a:t>to set up a thermal power plant with a total capacity of 1,600 MW to be supplied to Bangladesh Grid 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>
                <a:latin typeface="Arial"/>
                <a:cs typeface="Arial"/>
              </a:rPr>
              <a:t>Agreement between Government of Jharkhand and Adani Group to set up a Coal based </a:t>
            </a:r>
            <a:r>
              <a:rPr lang="en-US" sz="2000" b="1" kern="0" spc="70" dirty="0">
                <a:latin typeface="Arial"/>
                <a:cs typeface="Arial"/>
              </a:rPr>
              <a:t>Methane fertilizer plan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 smtClean="0">
                <a:latin typeface="Arial"/>
                <a:cs typeface="Arial"/>
              </a:rPr>
              <a:t>Uber </a:t>
            </a:r>
            <a:r>
              <a:rPr lang="en-US" sz="2000" b="1" kern="0" spc="70" dirty="0">
                <a:latin typeface="Arial"/>
                <a:cs typeface="Arial"/>
              </a:rPr>
              <a:t>and Skill Development </a:t>
            </a:r>
            <a:r>
              <a:rPr lang="en-US" sz="2000" kern="0" spc="70" dirty="0">
                <a:latin typeface="Arial"/>
                <a:cs typeface="Arial"/>
              </a:rPr>
              <a:t>and Entrepreneurship Department (SDED) of the Maharashtra governmen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/>
                <a:cs typeface="Arial"/>
              </a:rPr>
              <a:t>Solar Industries and Government of Maharashtra </a:t>
            </a:r>
            <a:r>
              <a:rPr lang="en-US" sz="2000" kern="0" spc="70" dirty="0">
                <a:latin typeface="Arial"/>
                <a:cs typeface="Arial"/>
              </a:rPr>
              <a:t>to set up a Nagpur plant for manufacturing of ammunition for armed forces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000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251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950338"/>
            <a:ext cx="80010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>
                <a:latin typeface="Arial"/>
                <a:cs typeface="Arial"/>
              </a:rPr>
              <a:t>POLICY / INVESTMENT PLANS ANNOUCEMENTS 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842842"/>
              </p:ext>
            </p:extLst>
          </p:nvPr>
        </p:nvGraphicFramePr>
        <p:xfrm>
          <a:off x="279400" y="1576954"/>
          <a:ext cx="8512908" cy="3955098"/>
        </p:xfrm>
        <a:graphic>
          <a:graphicData uri="http://schemas.openxmlformats.org/drawingml/2006/table">
            <a:tbl>
              <a:tblPr firstRow="1" firstCol="1" bandRow="1"/>
              <a:tblGrid>
                <a:gridCol w="8512908"/>
              </a:tblGrid>
              <a:tr h="457200"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TOR</a:t>
                      </a:r>
                      <a:r>
                        <a:rPr lang="en-US" sz="20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PECIFIC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s Development Fund (EDF) worth ~USD 350 million (INR 2,200 crore) launch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oods Policy 2016 introduc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 Opportunities in Infrastructure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Industries in Ind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 Opportunities in Food Processing</a:t>
                      </a:r>
                    </a:p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se of Doing business measures for Food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cessing and MSME sectors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-toll initiative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highways in Ind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0464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719946"/>
              </p:ext>
            </p:extLst>
          </p:nvPr>
        </p:nvGraphicFramePr>
        <p:xfrm>
          <a:off x="228600" y="1462234"/>
          <a:ext cx="8512908" cy="3642572"/>
        </p:xfrm>
        <a:graphic>
          <a:graphicData uri="http://schemas.openxmlformats.org/drawingml/2006/table">
            <a:tbl>
              <a:tblPr firstRow="1" firstCol="1" bandRow="1"/>
              <a:tblGrid>
                <a:gridCol w="1797148"/>
                <a:gridCol w="6715760"/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E SPECIFIC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harashtr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harashtra Retail Policy</a:t>
                      </a:r>
                    </a:p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le Window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olicy</a:t>
                      </a:r>
                    </a:p>
                    <a:p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harashtra Maritime Industrial Policy</a:t>
                      </a:r>
                    </a:p>
                    <a:p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s Policy with FAB manufacturing</a:t>
                      </a:r>
                      <a:endParaRPr lang="en-US" sz="2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cial Package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SC/ST Entrepreneu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ish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isha Industrial Development Plan 2025, and E-business Platfor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harkhan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harkhand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ustrial Promotion Policy 2016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rnatak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schemes of Industrial Policy and Startup Policy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28600" y="865542"/>
            <a:ext cx="80010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>
                <a:latin typeface="Arial"/>
                <a:cs typeface="Arial"/>
              </a:rPr>
              <a:t>POLICY / INVESTMENT PLANS ANNOUCEMENTS </a:t>
            </a:r>
          </a:p>
        </p:txBody>
      </p:sp>
    </p:spTree>
    <p:extLst>
      <p:ext uri="{BB962C8B-B14F-4D97-AF65-F5344CB8AC3E}">
        <p14:creationId xmlns:p14="http://schemas.microsoft.com/office/powerpoint/2010/main" val="232782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90777" y="846506"/>
            <a:ext cx="8175665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000" b="1" kern="0" spc="70" dirty="0" smtClean="0">
                <a:latin typeface="Arial"/>
                <a:cs typeface="Arial"/>
              </a:rPr>
              <a:t>PROMOTION OF </a:t>
            </a:r>
            <a:r>
              <a:rPr lang="en-US" sz="2000" b="1" kern="0" spc="70" dirty="0" smtClean="0">
                <a:latin typeface="Arial"/>
                <a:cs typeface="Arial"/>
              </a:rPr>
              <a:t>YOUTH, STARTUPS, DESIGN &amp; INNOVATION</a:t>
            </a:r>
            <a:endParaRPr lang="en-US" sz="2000" b="1" kern="0" spc="70" dirty="0">
              <a:latin typeface="Arial"/>
              <a:cs typeface="Arial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84354"/>
              </p:ext>
            </p:extLst>
          </p:nvPr>
        </p:nvGraphicFramePr>
        <p:xfrm>
          <a:off x="412747" y="1660107"/>
          <a:ext cx="8153695" cy="45810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5318"/>
                <a:gridCol w="5978377"/>
              </a:tblGrid>
              <a:tr h="493031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</a:t>
                      </a:r>
                      <a:r>
                        <a:rPr lang="en-US" sz="18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ZE</a:t>
                      </a:r>
                      <a:r>
                        <a:rPr lang="en-US" sz="18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M</a:t>
                      </a:r>
                      <a:endParaRPr lang="en-US" sz="18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Spot prize</a:t>
                      </a:r>
                      <a:r>
                        <a:rPr lang="en-US" sz="18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</a:t>
                      </a:r>
                      <a:r>
                        <a:rPr lang="en-US" sz="1800" b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s</a:t>
                      </a:r>
                      <a:r>
                        <a:rPr lang="en-US" sz="18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 crore by Qualcomm for Startups in India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47114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ckathon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 platform for</a:t>
                      </a:r>
                      <a:r>
                        <a:rPr lang="en-US" sz="18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novators, programmers and engineers. Awarded  teams from top engineering institutions in  India</a:t>
                      </a:r>
                      <a:endParaRPr lang="en-US" sz="18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e</a:t>
                      </a:r>
                      <a:r>
                        <a:rPr lang="en-US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India for the World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wcased stories of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</a:t>
                      </a:r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ng entrepreneurs who have designed,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novated and built in India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owering through Design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ed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ia as a center for global design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mpions</a:t>
                      </a:r>
                      <a:r>
                        <a:rPr lang="en-US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Societal Manufacturing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wcased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uturistic initiatives for manufacturing in India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 India Awards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s to top 3 Manufacturers in India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7641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82478" y="1767643"/>
          <a:ext cx="8344272" cy="3200400"/>
        </p:xfrm>
        <a:graphic>
          <a:graphicData uri="http://schemas.openxmlformats.org/drawingml/2006/table">
            <a:tbl>
              <a:tblPr firstRow="1" firstCol="1" bandRow="1"/>
              <a:tblGrid>
                <a:gridCol w="5156051"/>
                <a:gridCol w="3188221"/>
              </a:tblGrid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hall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exhibited sector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exhibitor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5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state and UT pavilion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country pavilion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93122" y="987752"/>
            <a:ext cx="8051888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 smtClean="0">
                <a:latin typeface="Arial"/>
                <a:cs typeface="Arial"/>
              </a:rPr>
              <a:t>Make in India Centre</a:t>
            </a:r>
            <a:endParaRPr lang="en-US" sz="2800" b="1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926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82478" y="1513643"/>
          <a:ext cx="8344272" cy="4145280"/>
        </p:xfrm>
        <a:graphic>
          <a:graphicData uri="http://schemas.openxmlformats.org/drawingml/2006/table">
            <a:tbl>
              <a:tblPr firstRow="1" firstCol="1" bandRow="1"/>
              <a:tblGrid>
                <a:gridCol w="5385276"/>
                <a:gridCol w="2958996"/>
              </a:tblGrid>
              <a:tr h="4660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 gross area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30,000 sq.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 Exhibition Area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,00,000 sq. </a:t>
                      </a:r>
                      <a:r>
                        <a:rPr lang="en-GB" sz="3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 Façade Area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50,000</a:t>
                      </a:r>
                      <a:r>
                        <a:rPr lang="en-GB" sz="36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q. </a:t>
                      </a:r>
                      <a:r>
                        <a:rPr lang="en-GB" sz="36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n Area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00,000 sq. </a:t>
                      </a:r>
                      <a:r>
                        <a:rPr lang="en-GB" sz="3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ad infrastructure with paver</a:t>
                      </a:r>
                      <a:r>
                        <a:rPr lang="en-GB" sz="2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lock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00,000 sq. </a:t>
                      </a:r>
                      <a:r>
                        <a:rPr lang="en-GB" sz="3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illed Manpower Involved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,500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93122" y="987752"/>
            <a:ext cx="8051888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 smtClean="0">
                <a:latin typeface="Arial"/>
                <a:cs typeface="Arial"/>
              </a:rPr>
              <a:t>Make in India Centre</a:t>
            </a:r>
            <a:endParaRPr lang="en-US" sz="2800" b="1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6055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79268" y="1607741"/>
            <a:ext cx="7973889" cy="3267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ME Focused program to attract German SMEs to India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ttelstand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 (German) companie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nrolled for the programme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everal MIIM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mpanies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ompleted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jor steps for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aking investments in Indi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wo workshops conducted successfully in presence of more than 45 companies</a:t>
            </a:r>
          </a:p>
          <a:p>
            <a:pPr marL="285750" marR="0" lvl="0" indent="-285750" algn="just" fontAlgn="auto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re than 50 meetings conducted with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Mittelstand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ompanie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847846"/>
            <a:ext cx="868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latin typeface="Arial"/>
                <a:cs typeface="Arial"/>
              </a:rPr>
              <a:t>MAKE IN INDIA MITTELSTAND (MIIM)</a:t>
            </a:r>
            <a:endParaRPr lang="en-GB" sz="24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239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7777" y="846506"/>
            <a:ext cx="6035050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800" b="1" dirty="0" smtClean="0">
                <a:latin typeface="Arial"/>
                <a:cs typeface="Arial"/>
              </a:rPr>
              <a:t>Make in India Week - Way Forward</a:t>
            </a:r>
            <a:endParaRPr lang="en-US" sz="2650" b="1" kern="0" spc="70" dirty="0"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1650" y="1420813"/>
            <a:ext cx="8243888" cy="4611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riv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o provide investment enabling environment to Foreign and Domestic investor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moting quality jobs through development of innovation and design ecosystem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ging partnerships for manufacturing sector development for enabling “Champion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ates for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nabling environment for Startups  and SMEs to scale up their operation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tive cooperation with States for promoting manufacturing  across all States in India and remotest part of the country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moting Industry and Academia linkages for joint research and product development to drive frugal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ngineering</a:t>
            </a:r>
          </a:p>
        </p:txBody>
      </p:sp>
    </p:spTree>
    <p:extLst>
      <p:ext uri="{BB962C8B-B14F-4D97-AF65-F5344CB8AC3E}">
        <p14:creationId xmlns:p14="http://schemas.microsoft.com/office/powerpoint/2010/main" val="186132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/>
          <p:nvPr/>
        </p:nvSpPr>
        <p:spPr>
          <a:xfrm>
            <a:off x="-1" y="0"/>
            <a:ext cx="9143999" cy="6858000"/>
          </a:xfrm>
          <a:prstGeom prst="rect">
            <a:avLst/>
          </a:prstGeom>
          <a:solidFill>
            <a:srgbClr val="FF2600"/>
          </a:solidFill>
          <a:ln w="12700">
            <a:miter lim="400000"/>
          </a:ln>
        </p:spPr>
        <p:txBody>
          <a:bodyPr lIns="0" tIns="0" rIns="0" bIns="0"/>
          <a:lstStyle/>
          <a:p>
            <a:pPr lvl="0"/>
            <a:endParaRPr sz="2250"/>
          </a:p>
        </p:txBody>
      </p:sp>
      <p:sp>
        <p:nvSpPr>
          <p:cNvPr id="44" name="Shape 44"/>
          <p:cNvSpPr/>
          <p:nvPr/>
        </p:nvSpPr>
        <p:spPr>
          <a:xfrm>
            <a:off x="1" y="1428751"/>
            <a:ext cx="9143996" cy="4376655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2700">
            <a:miter lim="400000"/>
          </a:ln>
        </p:spPr>
        <p:txBody>
          <a:bodyPr lIns="0" tIns="0" rIns="0" bIns="0"/>
          <a:lstStyle/>
          <a:p>
            <a:pPr lvl="0"/>
            <a:endParaRPr sz="2250"/>
          </a:p>
        </p:txBody>
      </p:sp>
    </p:spTree>
    <p:extLst>
      <p:ext uri="{BB962C8B-B14F-4D97-AF65-F5344CB8AC3E}">
        <p14:creationId xmlns:p14="http://schemas.microsoft.com/office/powerpoint/2010/main" val="10681876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912" y="909638"/>
            <a:ext cx="8229600" cy="1143000"/>
          </a:xfrm>
        </p:spPr>
        <p:txBody>
          <a:bodyPr/>
          <a:lstStyle/>
          <a:p>
            <a:r>
              <a:rPr lang="en-US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The biggest showcase of </a:t>
            </a:r>
            <a:br>
              <a:rPr lang="en-US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India’s manufacturing prowess</a:t>
            </a:r>
            <a:endParaRPr lang="en-US" sz="2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912" y="2108201"/>
            <a:ext cx="8229600" cy="3616960"/>
          </a:xfrm>
        </p:spPr>
        <p:txBody>
          <a:bodyPr/>
          <a:lstStyle/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reated avenues for showcasing, connecting and collaborating for manufacturing in India</a:t>
            </a: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moted Investment enabling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nvironment and healthy competitive spirit amongst States</a:t>
            </a: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ncouraged Design, Innovation, Youth and Startups</a:t>
            </a: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platform where global CEOs, think tanks, policy makers, Diplomats and Political leaders converged </a:t>
            </a:r>
          </a:p>
        </p:txBody>
      </p:sp>
    </p:spTree>
    <p:extLst>
      <p:ext uri="{BB962C8B-B14F-4D97-AF65-F5344CB8AC3E}">
        <p14:creationId xmlns:p14="http://schemas.microsoft.com/office/powerpoint/2010/main" val="359943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/>
        </p:nvSpPr>
        <p:spPr>
          <a:xfrm>
            <a:off x="415009" y="3247139"/>
            <a:ext cx="258596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8,90,000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0862" y="1108753"/>
            <a:ext cx="8514471" cy="50013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650" b="1" kern="0" spc="70" dirty="0">
                <a:latin typeface="Arial"/>
                <a:cs typeface="Arial"/>
              </a:rPr>
              <a:t>Make in India </a:t>
            </a:r>
            <a:r>
              <a:rPr lang="en-US" sz="2650" b="1" kern="0" spc="70" dirty="0" smtClean="0">
                <a:latin typeface="Arial"/>
                <a:cs typeface="Arial"/>
              </a:rPr>
              <a:t>Week </a:t>
            </a:r>
            <a:r>
              <a:rPr lang="en-US" sz="2650" b="1" kern="0" spc="70" dirty="0">
                <a:latin typeface="Arial"/>
                <a:cs typeface="Arial"/>
              </a:rPr>
              <a:t>at an all-time high!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401346" y="2705835"/>
            <a:ext cx="2969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rore Investment committed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00941" y="4080237"/>
            <a:ext cx="121379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02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77347" y="4370858"/>
            <a:ext cx="269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untries represented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00941" y="4993513"/>
            <a:ext cx="121379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215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612631" y="5223838"/>
            <a:ext cx="269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xhibitors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866379" y="1987646"/>
            <a:ext cx="258596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,05,000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969366" y="2764220"/>
            <a:ext cx="3055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rore of Business Enquiries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573944" y="3134207"/>
            <a:ext cx="121379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50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687153" y="3274331"/>
            <a:ext cx="2695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vents under Make in India Week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573944" y="4066934"/>
            <a:ext cx="1728358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,245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236658" y="4172569"/>
            <a:ext cx="2695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peakers – National and International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573944" y="4993513"/>
            <a:ext cx="1728358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8,245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242237" y="5096838"/>
            <a:ext cx="2695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2B,B2G and G2G </a:t>
            </a:r>
            <a:r>
              <a:rPr lang="en-US" dirty="0" smtClean="0"/>
              <a:t>meetings</a:t>
            </a:r>
            <a:endParaRPr lang="en-US" dirty="0"/>
          </a:p>
        </p:txBody>
      </p:sp>
      <p:cxnSp>
        <p:nvCxnSpPr>
          <p:cNvPr id="40" name="Straight Connector 39"/>
          <p:cNvCxnSpPr/>
          <p:nvPr/>
        </p:nvCxnSpPr>
        <p:spPr>
          <a:xfrm>
            <a:off x="485606" y="3134207"/>
            <a:ext cx="8065727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485606" y="4066934"/>
            <a:ext cx="8065727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485606" y="4993513"/>
            <a:ext cx="8065727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4373329" y="2370647"/>
            <a:ext cx="0" cy="3400134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189253" y="3530696"/>
            <a:ext cx="2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isitors</a:t>
            </a:r>
            <a:endParaRPr lang="en-US" dirty="0">
              <a:latin typeface="Arial"/>
              <a:cs typeface="Arial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00940" y="1985710"/>
            <a:ext cx="4097387" cy="830997"/>
            <a:chOff x="400940" y="1985710"/>
            <a:chExt cx="4097387" cy="830997"/>
          </a:xfrm>
        </p:grpSpPr>
        <p:sp>
          <p:nvSpPr>
            <p:cNvPr id="20" name="Rectangle 19"/>
            <p:cNvSpPr/>
            <p:nvPr/>
          </p:nvSpPr>
          <p:spPr>
            <a:xfrm>
              <a:off x="400940" y="1985710"/>
              <a:ext cx="4097387" cy="83099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4800" b="1" dirty="0" smtClean="0">
                  <a:latin typeface="Arial"/>
                  <a:cs typeface="Arial"/>
                </a:rPr>
                <a:t>&gt;    15,20,000</a:t>
              </a:r>
              <a:endParaRPr lang="en-US" sz="4800" b="1" dirty="0">
                <a:latin typeface="Arial"/>
                <a:cs typeface="Arial"/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569" y="2137249"/>
              <a:ext cx="398777" cy="586601"/>
            </a:xfrm>
            <a:prstGeom prst="rect">
              <a:avLst/>
            </a:prstGeom>
          </p:spPr>
        </p:pic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897" y="2204735"/>
            <a:ext cx="334749" cy="492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87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336" y="740046"/>
            <a:ext cx="8229600" cy="694860"/>
          </a:xfrm>
        </p:spPr>
        <p:txBody>
          <a:bodyPr/>
          <a:lstStyle/>
          <a:p>
            <a:pPr algn="l"/>
            <a:r>
              <a:rPr lang="en-US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rticipation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739094"/>
              </p:ext>
            </p:extLst>
          </p:nvPr>
        </p:nvGraphicFramePr>
        <p:xfrm>
          <a:off x="529295" y="1549791"/>
          <a:ext cx="8277079" cy="4480560"/>
        </p:xfrm>
        <a:graphic>
          <a:graphicData uri="http://schemas.openxmlformats.org/drawingml/2006/table">
            <a:tbl>
              <a:tblPr firstRow="1" firstCol="1" bandRow="1"/>
              <a:tblGrid>
                <a:gridCol w="5560498"/>
                <a:gridCol w="2716581"/>
              </a:tblGrid>
              <a:tr h="457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Ms, Deputy PM and Foreign Ministers</a:t>
                      </a:r>
                      <a:endParaRPr lang="en-GB" sz="2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ment of India Ministers</a:t>
                      </a:r>
                      <a:endParaRPr lang="en-GB" sz="2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ef Ministers and State Minister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anose="05000000000000000000" pitchFamily="2" charset="2"/>
                        <a:buNone/>
                      </a:pPr>
                      <a:r>
                        <a:rPr lang="en-GB" sz="3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3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Os and CXO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00</a:t>
                      </a:r>
                      <a:endParaRPr lang="en-GB" sz="3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an companie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9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eign Companie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2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eign Delegate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4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66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33401" y="973506"/>
            <a:ext cx="8001000" cy="9079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650" b="1" kern="0" spc="70" dirty="0">
                <a:latin typeface="Arial"/>
                <a:cs typeface="Arial"/>
              </a:rPr>
              <a:t>EVENTS (Seminars, Knowledge sharing sessions, </a:t>
            </a:r>
            <a:r>
              <a:rPr lang="en-US" sz="2650" b="1" kern="0" spc="70" dirty="0" smtClean="0">
                <a:latin typeface="Arial"/>
                <a:cs typeface="Arial"/>
              </a:rPr>
              <a:t>Other activities)</a:t>
            </a:r>
            <a:endParaRPr lang="en-US" sz="2650" b="1" kern="0" spc="70" dirty="0">
              <a:latin typeface="Arial"/>
              <a:cs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699537"/>
              </p:ext>
            </p:extLst>
          </p:nvPr>
        </p:nvGraphicFramePr>
        <p:xfrm>
          <a:off x="533400" y="2387600"/>
          <a:ext cx="8001000" cy="2926080"/>
        </p:xfrm>
        <a:graphic>
          <a:graphicData uri="http://schemas.openxmlformats.org/drawingml/2006/table">
            <a:tbl>
              <a:tblPr firstRow="1" firstCol="1" bandRow="1"/>
              <a:tblGrid>
                <a:gridCol w="6000750"/>
                <a:gridCol w="2000250"/>
              </a:tblGrid>
              <a:tr h="457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events under Make in India Week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s in Make in India Centre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umber of speaker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anose="05000000000000000000" pitchFamily="2" charset="2"/>
                        <a:buNone/>
                      </a:pPr>
                      <a:r>
                        <a:rPr lang="en-GB" sz="3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45</a:t>
                      </a:r>
                      <a:endParaRPr lang="en-GB" sz="3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icipants in events and seminars</a:t>
                      </a:r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t MIIC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,500</a:t>
                      </a:r>
                      <a:endParaRPr lang="en-GB" sz="3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851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7777" y="1227506"/>
            <a:ext cx="480131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GB" sz="2800" b="1" dirty="0">
                <a:latin typeface="Arial"/>
                <a:cs typeface="Arial"/>
              </a:rPr>
              <a:t>B2B / B2G / G2G </a:t>
            </a:r>
            <a:r>
              <a:rPr lang="en-GB" sz="2800" b="1" dirty="0" smtClean="0">
                <a:latin typeface="Arial"/>
                <a:cs typeface="Arial"/>
              </a:rPr>
              <a:t>Meetings</a:t>
            </a:r>
            <a:r>
              <a:rPr lang="en-US" sz="2650" b="1" kern="0" spc="70" dirty="0" smtClean="0">
                <a:latin typeface="Arial"/>
                <a:cs typeface="Arial"/>
              </a:rPr>
              <a:t>	</a:t>
            </a:r>
            <a:endParaRPr lang="en-US" sz="2650" b="1" kern="0" spc="70" dirty="0">
              <a:latin typeface="Arial"/>
              <a:cs typeface="Arial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521707"/>
              </p:ext>
            </p:extLst>
          </p:nvPr>
        </p:nvGraphicFramePr>
        <p:xfrm>
          <a:off x="539748" y="2462211"/>
          <a:ext cx="7662864" cy="27606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5744"/>
                <a:gridCol w="1577120"/>
              </a:tblGrid>
              <a:tr h="9202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chemeClr val="tx1"/>
                          </a:solidFill>
                        </a:rPr>
                        <a:t>Business – to</a:t>
                      </a:r>
                      <a:r>
                        <a:rPr lang="en-US" sz="3200" b="0" baseline="0" dirty="0" smtClean="0">
                          <a:solidFill>
                            <a:schemeClr val="tx1"/>
                          </a:solidFill>
                        </a:rPr>
                        <a:t> – Business </a:t>
                      </a:r>
                      <a:endParaRPr lang="en-US" sz="3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400" dirty="0" smtClean="0">
                          <a:solidFill>
                            <a:schemeClr val="tx1"/>
                          </a:solidFill>
                        </a:rPr>
                        <a:t>6,800</a:t>
                      </a:r>
                      <a:endParaRPr lang="en-US" sz="4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0221">
                <a:tc>
                  <a:txBody>
                    <a:bodyPr/>
                    <a:lstStyle/>
                    <a:p>
                      <a:r>
                        <a:rPr lang="en-US" sz="3200" b="0" dirty="0" smtClean="0"/>
                        <a:t>Business –</a:t>
                      </a:r>
                      <a:r>
                        <a:rPr lang="en-US" sz="3200" b="0" baseline="0" dirty="0" smtClean="0"/>
                        <a:t> to – Government</a:t>
                      </a:r>
                      <a:endParaRPr lang="en-US" sz="32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400" b="1" dirty="0" smtClean="0"/>
                        <a:t>1,400</a:t>
                      </a:r>
                      <a:endParaRPr lang="en-US" sz="4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0221">
                <a:tc>
                  <a:txBody>
                    <a:bodyPr/>
                    <a:lstStyle/>
                    <a:p>
                      <a:r>
                        <a:rPr lang="en-US" sz="3200" b="0" dirty="0" smtClean="0"/>
                        <a:t>Government – to – Government</a:t>
                      </a:r>
                      <a:endParaRPr lang="en-US" sz="32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400" b="1" dirty="0" smtClean="0"/>
                        <a:t>45</a:t>
                      </a:r>
                      <a:endParaRPr lang="en-US" sz="4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776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16992" y="843508"/>
            <a:ext cx="8497824" cy="689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kern="0" spc="70" dirty="0" smtClean="0">
                <a:latin typeface="Arial"/>
                <a:cs typeface="Arial"/>
              </a:rPr>
              <a:t> </a:t>
            </a:r>
            <a:r>
              <a:rPr lang="en-US" kern="0" spc="70" dirty="0">
                <a:latin typeface="Arial"/>
                <a:cs typeface="Arial"/>
              </a:rPr>
              <a:t>KEY 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smtClean="0">
                <a:latin typeface="Arial"/>
                <a:cs typeface="Arial"/>
              </a:rPr>
              <a:t>Sterlite </a:t>
            </a:r>
            <a:r>
              <a:rPr lang="en-US" b="1" kern="0" spc="70" dirty="0">
                <a:latin typeface="Arial"/>
                <a:cs typeface="Arial"/>
              </a:rPr>
              <a:t>Group company </a:t>
            </a:r>
            <a:r>
              <a:rPr lang="en-US" b="1" kern="0" spc="70" dirty="0" err="1">
                <a:latin typeface="Arial"/>
                <a:cs typeface="Arial"/>
              </a:rPr>
              <a:t>TwinStar</a:t>
            </a:r>
            <a:r>
              <a:rPr lang="en-US" b="1" kern="0" spc="70" dirty="0">
                <a:latin typeface="Arial"/>
                <a:cs typeface="Arial"/>
              </a:rPr>
              <a:t> Display Technologies </a:t>
            </a:r>
            <a:r>
              <a:rPr lang="en-US" kern="0" spc="70" dirty="0" smtClean="0">
                <a:latin typeface="Arial"/>
                <a:cs typeface="Arial"/>
              </a:rPr>
              <a:t>&amp; MIDC for LCD </a:t>
            </a:r>
            <a:r>
              <a:rPr lang="en-US" kern="0" spc="70" dirty="0">
                <a:latin typeface="Arial"/>
                <a:cs typeface="Arial"/>
              </a:rPr>
              <a:t>manufacturing unit in technical collaboration with </a:t>
            </a:r>
            <a:r>
              <a:rPr lang="en-US" kern="0" spc="70" dirty="0" err="1">
                <a:latin typeface="Arial"/>
                <a:cs typeface="Arial"/>
              </a:rPr>
              <a:t>Autron</a:t>
            </a:r>
            <a:r>
              <a:rPr lang="en-US" kern="0" spc="70" dirty="0">
                <a:latin typeface="Arial"/>
                <a:cs typeface="Arial"/>
              </a:rPr>
              <a:t> of Taiwan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smtClean="0">
                <a:latin typeface="Arial"/>
                <a:cs typeface="Arial"/>
              </a:rPr>
              <a:t>BAE </a:t>
            </a:r>
            <a:r>
              <a:rPr lang="en-US" b="1" kern="0" spc="70" dirty="0">
                <a:latin typeface="Arial"/>
                <a:cs typeface="Arial"/>
              </a:rPr>
              <a:t>Systems and Mahindra </a:t>
            </a:r>
            <a:r>
              <a:rPr lang="en-US" kern="0" spc="70" dirty="0">
                <a:latin typeface="Arial"/>
                <a:cs typeface="Arial"/>
              </a:rPr>
              <a:t>for assembling and testing of M777 </a:t>
            </a:r>
            <a:r>
              <a:rPr lang="en-US" kern="0" spc="70" dirty="0" smtClean="0">
                <a:latin typeface="Arial"/>
                <a:cs typeface="Arial"/>
              </a:rPr>
              <a:t>Howitzers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RACLE’s USD 400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illion investment in India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o set up 9 incubation center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err="1" smtClean="0">
                <a:latin typeface="Arial"/>
                <a:cs typeface="Arial"/>
              </a:rPr>
              <a:t>Trivitron</a:t>
            </a:r>
            <a:r>
              <a:rPr lang="en-US" b="1" kern="0" spc="70" dirty="0" smtClean="0">
                <a:latin typeface="Arial"/>
                <a:cs typeface="Arial"/>
              </a:rPr>
              <a:t> </a:t>
            </a:r>
            <a:r>
              <a:rPr lang="en-US" kern="0" spc="70" dirty="0" smtClean="0">
                <a:latin typeface="Arial"/>
                <a:cs typeface="Arial"/>
              </a:rPr>
              <a:t>healthcare manufacturing unit in </a:t>
            </a:r>
            <a:r>
              <a:rPr lang="en-US" b="1" kern="0" spc="70" dirty="0" smtClean="0">
                <a:latin typeface="Arial"/>
                <a:cs typeface="Arial"/>
              </a:rPr>
              <a:t>Chennai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smtClean="0">
                <a:latin typeface="Arial"/>
                <a:cs typeface="Arial"/>
              </a:rPr>
              <a:t>Gujarat </a:t>
            </a:r>
            <a:r>
              <a:rPr lang="en-US" b="1" kern="0" spc="70" dirty="0">
                <a:latin typeface="Arial"/>
                <a:cs typeface="Arial"/>
              </a:rPr>
              <a:t>Government and Vestas </a:t>
            </a:r>
            <a:r>
              <a:rPr lang="en-US" kern="0" spc="70" dirty="0">
                <a:latin typeface="Arial"/>
                <a:cs typeface="Arial"/>
              </a:rPr>
              <a:t>(Denmark) </a:t>
            </a:r>
            <a:r>
              <a:rPr lang="en-US" kern="0" spc="70" dirty="0" smtClean="0">
                <a:latin typeface="Arial"/>
                <a:cs typeface="Arial"/>
              </a:rPr>
              <a:t>for </a:t>
            </a:r>
            <a:r>
              <a:rPr lang="en-US" kern="0" spc="70" dirty="0">
                <a:latin typeface="Arial"/>
                <a:cs typeface="Arial"/>
              </a:rPr>
              <a:t>wind mill blades </a:t>
            </a:r>
            <a:r>
              <a:rPr lang="en-US" kern="0" spc="70" dirty="0" smtClean="0">
                <a:latin typeface="Arial"/>
                <a:cs typeface="Arial"/>
              </a:rPr>
              <a:t>manufacturing </a:t>
            </a:r>
            <a:r>
              <a:rPr lang="en-US" kern="0" spc="70" dirty="0">
                <a:latin typeface="Arial"/>
                <a:cs typeface="Arial"/>
              </a:rPr>
              <a:t>unit at </a:t>
            </a:r>
            <a:r>
              <a:rPr lang="en-US" kern="0" spc="70" dirty="0" smtClean="0">
                <a:latin typeface="Arial"/>
                <a:cs typeface="Arial"/>
              </a:rPr>
              <a:t>Ahmedabad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aymond Industries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vest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1400 crore for manufacturing linen yarn and fabric facility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kern="0" spc="70" dirty="0">
              <a:latin typeface="Arial"/>
              <a:cs typeface="Arial"/>
            </a:endParaRP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0419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34461" y="1108753"/>
            <a:ext cx="8600049" cy="486287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sz="2000" kern="0" spc="70" dirty="0" smtClean="0">
                <a:latin typeface="Arial"/>
                <a:cs typeface="Arial"/>
              </a:rPr>
              <a:t>KEY 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ahindra &amp; Mahindra: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vestment –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8000 crores (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Nashik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 6500 crores,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haka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 1,500 crore)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Gujarat Government and Tar Kovacs Systems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(France) for offshore platform to develop marine applications in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Gujara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Tar Kovacs and Government of Karnataka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for setting up ocean based renewable energy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Yes Bank and IREDA for financing of renewable power projects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cendas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. 4571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rore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| Employment: 1.09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kh</a:t>
            </a:r>
            <a:b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000" kern="0" spc="70" dirty="0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8307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8812" y="1252643"/>
            <a:ext cx="8229600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sz="2000" kern="0" spc="70" dirty="0">
                <a:latin typeface="Arial"/>
                <a:cs typeface="Arial"/>
              </a:rPr>
              <a:t>KEY 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Mercedes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1500 crore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Employment: 427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ashtriya</a:t>
            </a: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 Chemicals and Fertilizers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Investment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6204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cr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 | Employment: 14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Godrej Industrie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3000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cr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 | Employment: 200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JSW Jaigarh Port Ltd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6000 crores | Employment: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100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CREDAI and MCHI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for 5.7 Lakh affordable homes with an investment of Rs.1.1 lakh  crore and 7.6 lakh jobs</a:t>
            </a:r>
            <a:endParaRPr lang="en-US" sz="2000" kern="0" spc="7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64151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967</Words>
  <Application>Microsoft Office PowerPoint</Application>
  <PresentationFormat>On-screen Show (4:3)</PresentationFormat>
  <Paragraphs>164</Paragraphs>
  <Slides>1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gency FB</vt:lpstr>
      <vt:lpstr>Arial</vt:lpstr>
      <vt:lpstr>Calibri</vt:lpstr>
      <vt:lpstr>Wingdings</vt:lpstr>
      <vt:lpstr>Office Theme</vt:lpstr>
      <vt:lpstr>think-cell Slide</vt:lpstr>
      <vt:lpstr>PowerPoint Presentation</vt:lpstr>
      <vt:lpstr>The biggest showcase of  India’s manufacturing prowess</vt:lpstr>
      <vt:lpstr>PowerPoint Presentation</vt:lpstr>
      <vt:lpstr>Particip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W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nil singh</dc:creator>
  <cp:lastModifiedBy>Svetlana Vladimirovna Samodurova</cp:lastModifiedBy>
  <cp:revision>60</cp:revision>
  <dcterms:created xsi:type="dcterms:W3CDTF">2016-02-17T12:24:11Z</dcterms:created>
  <dcterms:modified xsi:type="dcterms:W3CDTF">2016-02-22T14:05:42Z</dcterms:modified>
</cp:coreProperties>
</file>